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50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A5-4E13-93EB-27585FE19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A5-4E13-93EB-27585FE19F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A5-4E13-93EB-27585FE19F2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13084879"/>
        <c:axId val="213085359"/>
      </c:barChart>
      <c:catAx>
        <c:axId val="2130848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85359"/>
        <c:crosses val="autoZero"/>
        <c:auto val="1"/>
        <c:lblAlgn val="ctr"/>
        <c:lblOffset val="100"/>
        <c:noMultiLvlLbl val="0"/>
      </c:catAx>
      <c:valAx>
        <c:axId val="21308535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848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EF-4DD8-B86D-06CD95E237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EF-4DD8-B86D-06CD95E237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EF-4DD8-B86D-06CD95E237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52730256"/>
        <c:axId val="952734096"/>
      </c:barChart>
      <c:catAx>
        <c:axId val="952730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2734096"/>
        <c:crosses val="autoZero"/>
        <c:auto val="1"/>
        <c:lblAlgn val="ctr"/>
        <c:lblOffset val="100"/>
        <c:noMultiLvlLbl val="0"/>
      </c:catAx>
      <c:valAx>
        <c:axId val="9527340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2730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B75A9-C407-A586-43CE-125DA1CC7E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A0E7E-AC51-82E9-359D-2D6278DC9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de-by-Side Charts Layout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17F3C2A5-39A7-A28E-8936-BE9D076AC40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9372600" y="2705100"/>
          <a:ext cx="8201025" cy="651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ontent Placeholder 8">
            <a:extLst>
              <a:ext uri="{FF2B5EF4-FFF2-40B4-BE49-F238E27FC236}">
                <a16:creationId xmlns:a16="http://schemas.microsoft.com/office/drawing/2014/main" id="{89A8A04E-65C9-CA78-95C1-FCE1CDB0666B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5" y="2705100"/>
          <a:ext cx="8201025" cy="651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A72AD7-0CE6-3C0C-6027-36DF92D82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D86852BC-34E2-8D22-12FA-4438CC89A6F2}"/>
              </a:ext>
            </a:extLst>
          </p:cNvPr>
          <p:cNvSpPr txBox="1">
            <a:spLocks/>
          </p:cNvSpPr>
          <p:nvPr/>
        </p:nvSpPr>
        <p:spPr>
          <a:xfrm>
            <a:off x="9372600" y="1889656"/>
            <a:ext cx="820080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917590B-4295-5237-464D-932DC4276709}"/>
              </a:ext>
            </a:extLst>
          </p:cNvPr>
          <p:cNvSpPr txBox="1">
            <a:spLocks/>
          </p:cNvSpPr>
          <p:nvPr/>
        </p:nvSpPr>
        <p:spPr>
          <a:xfrm>
            <a:off x="714375" y="1889656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761340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7</TotalTime>
  <Words>8</Words>
  <Application>Microsoft Office PowerPoint</Application>
  <PresentationFormat>Custom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Side-by-Side Charts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09</cp:revision>
  <dcterms:created xsi:type="dcterms:W3CDTF">2006-08-16T00:00:00Z</dcterms:created>
  <dcterms:modified xsi:type="dcterms:W3CDTF">2025-10-06T09:10:25Z</dcterms:modified>
  <cp:category/>
  <dc:identifier>DAGkDf5R9EM</dc:identifier>
</cp:coreProperties>
</file>